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B7472A-059B-4AEA-8B7F-1B797ED316A3}" v="39" dt="2022-03-24T06:34:14.5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6" d="100"/>
          <a:sy n="66" d="100"/>
        </p:scale>
        <p:origin x="668" y="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1/01/2023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1/01/2023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Bhanothu.sai-sreeja@capgemini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JP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31834" y="3100390"/>
            <a:ext cx="3943804" cy="3073397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sz="1100" b="1" dirty="0"/>
              <a:t>EMPLOYEE MANAGEMENT SYSTEM</a:t>
            </a:r>
          </a:p>
          <a:p>
            <a:pPr marL="64770" marR="22860" algn="just">
              <a:lnSpc>
                <a:spcPct val="112000"/>
              </a:lnSpc>
            </a:pP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ted end to end case study of Employee</a:t>
            </a:r>
            <a:r>
              <a:rPr lang="en-US" sz="1100" spc="-38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agement System, Postman and swagger</a:t>
            </a:r>
            <a:r>
              <a:rPr lang="en-US" sz="110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sting Html</a:t>
            </a:r>
            <a:r>
              <a:rPr lang="en-US" sz="1100" spc="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SS</a:t>
            </a:r>
            <a:r>
              <a:rPr lang="en-US" sz="1100" spc="-2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d</a:t>
            </a:r>
            <a:r>
              <a:rPr lang="en-US" sz="1100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</a:t>
            </a:r>
            <a:r>
              <a:rPr lang="en-US" sz="1100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</a:t>
            </a:r>
            <a:r>
              <a:rPr lang="en-US" sz="1100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face.</a:t>
            </a:r>
          </a:p>
          <a:p>
            <a:pPr marL="64770" marR="22860">
              <a:lnSpc>
                <a:spcPct val="112000"/>
              </a:lnSpc>
              <a:spcAft>
                <a:spcPts val="0"/>
              </a:spcAft>
            </a:pPr>
            <a:endParaRPr lang="en-IN" sz="11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14000"/>
              </a:lnSpc>
            </a:pPr>
            <a:r>
              <a:rPr lang="en-US" sz="110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z-900</a:t>
            </a:r>
            <a:r>
              <a:rPr lang="en-US" sz="1100" b="1" spc="-3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rtification</a:t>
            </a:r>
            <a:r>
              <a:rPr lang="en-US" sz="1100" b="1" spc="-2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om Microsoft</a:t>
            </a:r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ted</a:t>
            </a:r>
            <a:r>
              <a:rPr lang="en-US" sz="1100" spc="-1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</a:t>
            </a:r>
            <a:r>
              <a:rPr lang="en-US" sz="1100" spc="-1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urse</a:t>
            </a:r>
            <a:r>
              <a:rPr lang="en-US" sz="1100" spc="-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th</a:t>
            </a:r>
            <a:r>
              <a:rPr lang="en-US" sz="110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65/1000</a:t>
            </a:r>
          </a:p>
          <a:p>
            <a:pPr eaLnBrk="1" hangingPunct="1">
              <a:lnSpc>
                <a:spcPct val="114000"/>
              </a:lnSpc>
            </a:pPr>
            <a:endParaRPr lang="en-IN" altLang="nl-NL" sz="1100" b="1" dirty="0"/>
          </a:p>
          <a:p>
            <a:pPr marR="179705">
              <a:lnSpc>
                <a:spcPct val="112000"/>
              </a:lnSpc>
            </a:pP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                                                          </a:t>
            </a:r>
            <a:endParaRPr lang="en-IN" sz="11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8421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53344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54413" y="1584326"/>
            <a:ext cx="3123369" cy="175021"/>
          </a:xfrm>
        </p:spPr>
        <p:txBody>
          <a:bodyPr/>
          <a:lstStyle/>
          <a:p>
            <a:pPr eaLnBrk="1" hangingPunct="1"/>
            <a:r>
              <a:rPr lang="nl-NL" altLang="nl-NL" dirty="0">
                <a:hlinkClick r:id="rId3"/>
              </a:rPr>
              <a:t>Vanne.gunasekhar@capgemini.com</a:t>
            </a:r>
            <a:r>
              <a:rPr lang="nl-NL" altLang="nl-NL" dirty="0"/>
              <a:t>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39307" y="1826022"/>
            <a:ext cx="2374106" cy="230982"/>
          </a:xfrm>
        </p:spPr>
        <p:txBody>
          <a:bodyPr/>
          <a:lstStyle/>
          <a:p>
            <a:pPr eaLnBrk="1" hangingPunct="1"/>
            <a:r>
              <a:rPr lang="nl-NL" altLang="nl-NL" dirty="0"/>
              <a:t>+91 6309780797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40871" y="3169047"/>
            <a:ext cx="4057650" cy="2892424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ftware Engineer who. Self-motivated and</a:t>
            </a:r>
            <a:r>
              <a:rPr lang="en-US" sz="110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rdworking fresher seeking for an opportunity to</a:t>
            </a:r>
            <a:r>
              <a:rPr lang="en-US" sz="110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</a:t>
            </a:r>
            <a:r>
              <a:rPr lang="en-US" sz="1100" spc="-2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</a:t>
            </a:r>
            <a:r>
              <a:rPr lang="en-US" sz="1100" spc="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lang="en-US" sz="1100" spc="-1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llenging</a:t>
            </a:r>
            <a:r>
              <a:rPr lang="en-US" sz="1100" spc="4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vironment to</a:t>
            </a:r>
            <a:r>
              <a:rPr lang="en-US" sz="1100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ve</a:t>
            </a:r>
            <a:r>
              <a:rPr lang="en-US" sz="1100" spc="-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y</a:t>
            </a:r>
            <a:r>
              <a:rPr lang="en-US" sz="110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ills</a:t>
            </a:r>
            <a:r>
              <a:rPr lang="en-US" sz="110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en-US" sz="1100" spc="-2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tilize</a:t>
            </a:r>
            <a:r>
              <a:rPr lang="en-US" sz="1100" spc="2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y</a:t>
            </a:r>
            <a:r>
              <a:rPr lang="en-US" sz="1100" spc="-2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nowledge</a:t>
            </a:r>
            <a:r>
              <a:rPr lang="en-US" sz="1100" spc="-2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amp;</a:t>
            </a:r>
            <a:r>
              <a:rPr lang="en-US" sz="1100" spc="-2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lligence</a:t>
            </a:r>
            <a:r>
              <a:rPr lang="en-US" sz="1100" spc="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</a:t>
            </a:r>
            <a:r>
              <a:rPr lang="en-US" sz="1100" spc="-1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</a:t>
            </a:r>
            <a:r>
              <a:rPr lang="en-US" sz="1100" spc="-37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owth of</a:t>
            </a:r>
            <a:r>
              <a:rPr lang="en-US" sz="1100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organization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Eager to work in a team of dedicated people and</a:t>
            </a:r>
            <a:r>
              <a:rPr lang="en-US" sz="1100" spc="-37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serve a key role in the enhancement and</a:t>
            </a:r>
            <a:r>
              <a:rPr lang="en-US" sz="1100" spc="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development</a:t>
            </a:r>
            <a:r>
              <a:rPr lang="en-US" sz="1100" spc="-1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of</a:t>
            </a:r>
            <a:r>
              <a:rPr lang="en-US" sz="1100" spc="-1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the project.</a:t>
            </a:r>
            <a:endParaRPr lang="en-US" alt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Verdana" panose="020B0604030504040204" pitchFamily="34" charset="0"/>
                <a:ea typeface="Arial" panose="020B0604020202020204" pitchFamily="34" charset="0"/>
                <a:cs typeface="Verdana" panose="020B0604030504040204" pitchFamily="34" charset="0"/>
              </a:rPr>
              <a:t>Has working knowledge of C#, SQL</a:t>
            </a:r>
            <a:r>
              <a:rPr lang="en-US" sz="1100" dirty="0">
                <a:latin typeface="Verdana" panose="020B0604030504040204" pitchFamily="34" charset="0"/>
                <a:ea typeface="Arial" panose="020B0604020202020204" pitchFamily="34" charset="0"/>
                <a:cs typeface="Verdana" panose="020B0604030504040204" pitchFamily="34" charset="0"/>
              </a:rPr>
              <a:t> Server and Oracle SQL</a:t>
            </a:r>
            <a:endParaRPr lang="en-IN" sz="1100" dirty="0">
              <a:effectLst/>
              <a:latin typeface="Verdana" panose="020B0604030504040204" pitchFamily="34" charset="0"/>
              <a:ea typeface="Arial" panose="020B0604020202020204" pitchFamily="34" charset="0"/>
              <a:cs typeface="Verdana" panose="020B0604030504040204" pitchFamily="34" charset="0"/>
            </a:endParaRPr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Technolog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echanical Engineering: 2018 - 2021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en-US" sz="1000" dirty="0"/>
              <a:t>C#</a:t>
            </a: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ytho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 Oracle 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icrosoft 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marL="64770" marR="1586230">
              <a:lnSpc>
                <a:spcPct val="112000"/>
              </a:lnSpc>
              <a:spcBef>
                <a:spcPts val="150"/>
              </a:spcBef>
              <a:spcAft>
                <a:spcPts val="0"/>
              </a:spcAft>
            </a:pPr>
            <a:r>
              <a:rPr lang="en-US" sz="10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TML</a:t>
            </a:r>
            <a:endParaRPr lang="en-IN" sz="10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64770" marR="1586230">
              <a:lnSpc>
                <a:spcPct val="112000"/>
              </a:lnSpc>
              <a:spcBef>
                <a:spcPts val="150"/>
              </a:spcBef>
              <a:spcAft>
                <a:spcPts val="0"/>
              </a:spcAft>
            </a:pPr>
            <a:r>
              <a:rPr lang="en-US" sz="1000" dirty="0"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 API</a:t>
            </a:r>
          </a:p>
          <a:p>
            <a:pPr marL="64770" marR="1586230">
              <a:lnSpc>
                <a:spcPct val="112000"/>
              </a:lnSpc>
              <a:spcBef>
                <a:spcPts val="150"/>
              </a:spcBef>
              <a:spcAft>
                <a:spcPts val="0"/>
              </a:spcAft>
            </a:pPr>
            <a:r>
              <a:rPr lang="en-US" altLang="nl-NL" sz="1000" dirty="0">
                <a:latin typeface="Arial" panose="020B0604020202020204" pitchFamily="34" charset="0"/>
                <a:ea typeface="Verdana" panose="020B0604030504040204" pitchFamily="34" charset="0"/>
              </a:rPr>
              <a:t>CSS</a:t>
            </a:r>
          </a:p>
          <a:p>
            <a:pPr marL="64770" marR="1586230">
              <a:lnSpc>
                <a:spcPct val="112000"/>
              </a:lnSpc>
              <a:spcBef>
                <a:spcPts val="150"/>
              </a:spcBef>
              <a:spcAft>
                <a:spcPts val="0"/>
              </a:spcAft>
            </a:pPr>
            <a:r>
              <a:rPr lang="en-US" altLang="nl-NL" sz="1000" dirty="0">
                <a:latin typeface="Arial" panose="020B0604020202020204" pitchFamily="34" charset="0"/>
                <a:ea typeface="Verdana" panose="020B0604030504040204" pitchFamily="34" charset="0"/>
              </a:rPr>
              <a:t>Bootstrap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-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ood Listene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Quick Learner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/>
              <a:t>VANNE GUNASEKHAR</a:t>
            </a:r>
          </a:p>
        </p:txBody>
      </p:sp>
      <p:pic>
        <p:nvPicPr>
          <p:cNvPr id="7182" name="Picture 4" descr="Free icon download | Linkedin"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5550" y="1608138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332173" cy="2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8" name="Picture Placeholder 7" descr="A picture containing person, person, work-clothing&#10;&#10;Description automatically generated">
            <a:extLst>
              <a:ext uri="{FF2B5EF4-FFF2-40B4-BE49-F238E27FC236}">
                <a16:creationId xmlns:a16="http://schemas.microsoft.com/office/drawing/2014/main" id="{C605D329-F1A4-4CD3-B080-704039A9E51A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1" b="11111"/>
          <a:stretch>
            <a:fillRect/>
          </a:stretch>
        </p:blipFill>
        <p:spPr>
          <a:xfrm>
            <a:off x="357293" y="318201"/>
            <a:ext cx="1734208" cy="1735628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498</TotalTime>
  <Words>168</Words>
  <Application>Microsoft Office PowerPoint</Application>
  <PresentationFormat>Widescreen</PresentationFormat>
  <Paragraphs>6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GUNASEKHAR, VANNE</cp:lastModifiedBy>
  <cp:revision>115</cp:revision>
  <dcterms:created xsi:type="dcterms:W3CDTF">2017-12-08T05:27:40Z</dcterms:created>
  <dcterms:modified xsi:type="dcterms:W3CDTF">2023-01-20T18:3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